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6" r:id="rId5"/>
    <p:sldMasterId id="2147483832" r:id="rId6"/>
    <p:sldMasterId id="2147483780" r:id="rId7"/>
    <p:sldMasterId id="2147483804" r:id="rId8"/>
    <p:sldMasterId id="2147483811" r:id="rId9"/>
  </p:sldMasterIdLst>
  <p:notesMasterIdLst>
    <p:notesMasterId r:id="rId21"/>
  </p:notesMasterIdLst>
  <p:sldIdLst>
    <p:sldId id="2146846932" r:id="rId10"/>
    <p:sldId id="2146846899" r:id="rId11"/>
    <p:sldId id="2146846958" r:id="rId12"/>
    <p:sldId id="2146846969" r:id="rId13"/>
    <p:sldId id="2146846971" r:id="rId14"/>
    <p:sldId id="2146846973" r:id="rId15"/>
    <p:sldId id="2146846968" r:id="rId16"/>
    <p:sldId id="2146846985" r:id="rId17"/>
    <p:sldId id="2146846987" r:id="rId18"/>
    <p:sldId id="2146846976" r:id="rId19"/>
    <p:sldId id="2146846962" r:id="rId20"/>
  </p:sldIdLst>
  <p:sldSz cx="12192000" cy="6858000"/>
  <p:notesSz cx="6797675" cy="9926638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A3225E6-3304-D117-A85D-E0B29D768657}" name="Drange, Dorte" initials="DD" userId="Drange, Dort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40F890-C178-477A-B104-837FC46F90C7}" v="5" dt="2024-06-26T11:16:42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6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ylken, Wenche" userId="38fc0a0c-b3e1-4783-8b98-a15e4a0ff770" providerId="ADAL" clId="{FB40F890-C178-477A-B104-837FC46F90C7}"/>
    <pc:docChg chg="custSel modSld">
      <pc:chgData name="Fylken, Wenche" userId="38fc0a0c-b3e1-4783-8b98-a15e4a0ff770" providerId="ADAL" clId="{FB40F890-C178-477A-B104-837FC46F90C7}" dt="2024-06-26T11:39:46.719" v="87" actId="20577"/>
      <pc:docMkLst>
        <pc:docMk/>
      </pc:docMkLst>
      <pc:sldChg chg="modSp mod">
        <pc:chgData name="Fylken, Wenche" userId="38fc0a0c-b3e1-4783-8b98-a15e4a0ff770" providerId="ADAL" clId="{FB40F890-C178-477A-B104-837FC46F90C7}" dt="2024-06-26T11:39:46.719" v="87" actId="20577"/>
        <pc:sldMkLst>
          <pc:docMk/>
          <pc:sldMk cId="1082272331" sldId="2146846899"/>
        </pc:sldMkLst>
        <pc:spChg chg="mod">
          <ac:chgData name="Fylken, Wenche" userId="38fc0a0c-b3e1-4783-8b98-a15e4a0ff770" providerId="ADAL" clId="{FB40F890-C178-477A-B104-837FC46F90C7}" dt="2024-06-26T11:39:46.719" v="87" actId="20577"/>
          <ac:spMkLst>
            <pc:docMk/>
            <pc:sldMk cId="1082272331" sldId="2146846899"/>
            <ac:spMk id="4" creationId="{F88F37EE-8E4F-2E56-8A34-86596112BA13}"/>
          </ac:spMkLst>
        </pc:spChg>
      </pc:sldChg>
      <pc:sldChg chg="modSp mod">
        <pc:chgData name="Fylken, Wenche" userId="38fc0a0c-b3e1-4783-8b98-a15e4a0ff770" providerId="ADAL" clId="{FB40F890-C178-477A-B104-837FC46F90C7}" dt="2024-06-26T11:38:19.358" v="65" actId="20577"/>
        <pc:sldMkLst>
          <pc:docMk/>
          <pc:sldMk cId="1808661967" sldId="2146846958"/>
        </pc:sldMkLst>
        <pc:spChg chg="mod">
          <ac:chgData name="Fylken, Wenche" userId="38fc0a0c-b3e1-4783-8b98-a15e4a0ff770" providerId="ADAL" clId="{FB40F890-C178-477A-B104-837FC46F90C7}" dt="2024-06-26T11:38:19.358" v="65" actId="20577"/>
          <ac:spMkLst>
            <pc:docMk/>
            <pc:sldMk cId="1808661967" sldId="2146846958"/>
            <ac:spMk id="3" creationId="{BD03976C-8E6B-831D-915E-8B7F41A53A6D}"/>
          </ac:spMkLst>
        </pc:spChg>
      </pc:sldChg>
      <pc:sldChg chg="modSp mod">
        <pc:chgData name="Fylken, Wenche" userId="38fc0a0c-b3e1-4783-8b98-a15e4a0ff770" providerId="ADAL" clId="{FB40F890-C178-477A-B104-837FC46F90C7}" dt="2024-06-26T11:39:03.359" v="67" actId="20577"/>
        <pc:sldMkLst>
          <pc:docMk/>
          <pc:sldMk cId="783600026" sldId="2146846973"/>
        </pc:sldMkLst>
        <pc:spChg chg="mod">
          <ac:chgData name="Fylken, Wenche" userId="38fc0a0c-b3e1-4783-8b98-a15e4a0ff770" providerId="ADAL" clId="{FB40F890-C178-477A-B104-837FC46F90C7}" dt="2024-06-26T11:39:03.359" v="67" actId="20577"/>
          <ac:spMkLst>
            <pc:docMk/>
            <pc:sldMk cId="783600026" sldId="2146846973"/>
            <ac:spMk id="2" creationId="{6FB37565-EF4A-72C9-8559-1E27F35069B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87FA5B18-4404-4FE6-AE77-E0FE4B2EBE11}" type="datetimeFigureOut">
              <a:rPr lang="nb-NO" smtClean="0"/>
              <a:t>26.06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278498F4-2579-45C2-A257-D892C354D77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4713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875"/>
              </a:spcBef>
            </a:pPr>
            <a:r>
              <a:rPr lang="nb-NO" b="1"/>
              <a:t> </a:t>
            </a:r>
            <a:endParaRPr lang="nb-NO" b="1">
              <a:cs typeface="Calibri"/>
            </a:endParaRPr>
          </a:p>
          <a:p>
            <a:pPr>
              <a:spcBef>
                <a:spcPts val="1875"/>
              </a:spcBef>
            </a:pPr>
            <a:r>
              <a:rPr lang="nb-NO" b="1"/>
              <a:t>I livshendelsen DOA var det behov for å definere begreper som skulle inn i tjenestene. </a:t>
            </a:r>
            <a:br>
              <a:rPr lang="nb-NO" b="1">
                <a:cs typeface="+mn-lt"/>
              </a:rPr>
            </a:br>
            <a:r>
              <a:rPr lang="nb-NO" b="1" err="1"/>
              <a:t>Digdir</a:t>
            </a:r>
            <a:r>
              <a:rPr lang="nb-NO" b="1"/>
              <a:t> etablerte Begrepsprosjekt DOA, og inviterte alle aktørene fra privat og offentlig sektor som leverer data til DOA, til å samarbeide i prosjektet.     </a:t>
            </a:r>
            <a:endParaRPr lang="nb-NO" b="1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7110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Når</a:t>
            </a:r>
            <a:r>
              <a:rPr lang="en-US">
                <a:cs typeface="Calibri"/>
              </a:rPr>
              <a:t> vi </a:t>
            </a:r>
            <a:r>
              <a:rPr lang="en-US" err="1">
                <a:cs typeface="Calibri"/>
              </a:rPr>
              <a:t>skal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utvikl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digitale</a:t>
            </a:r>
            <a:r>
              <a:rPr lang="en-US">
                <a:cs typeface="Calibri"/>
              </a:rPr>
              <a:t> </a:t>
            </a:r>
            <a:r>
              <a:rPr lang="en-US" err="1">
                <a:cs typeface="Calibri"/>
              </a:rPr>
              <a:t>tjenester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skal</a:t>
            </a:r>
            <a:r>
              <a:rPr lang="en-US">
                <a:cs typeface="Calibri"/>
              </a:rPr>
              <a:t> vi </a:t>
            </a:r>
            <a:r>
              <a:rPr lang="en-US" err="1">
                <a:cs typeface="Calibri"/>
              </a:rPr>
              <a:t>alltid</a:t>
            </a:r>
            <a:r>
              <a:rPr lang="en-US">
                <a:cs typeface="Calibri"/>
              </a:rPr>
              <a:t> teste </a:t>
            </a:r>
            <a:r>
              <a:rPr lang="en-US" err="1">
                <a:cs typeface="Calibri"/>
              </a:rPr>
              <a:t>innholde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definisjoner</a:t>
            </a:r>
            <a:r>
              <a:rPr lang="en-US">
                <a:cs typeface="Calibri"/>
              </a:rPr>
              <a:t> av </a:t>
            </a:r>
            <a:r>
              <a:rPr lang="en-US" err="1">
                <a:cs typeface="Calibri"/>
              </a:rPr>
              <a:t>begrep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grundig</a:t>
            </a:r>
            <a:r>
              <a:rPr lang="en-US">
                <a:cs typeface="Calibri"/>
              </a:rPr>
              <a:t> I </a:t>
            </a:r>
            <a:r>
              <a:rPr lang="en-US" err="1">
                <a:cs typeface="Calibri"/>
              </a:rPr>
              <a:t>e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kontekst</a:t>
            </a:r>
            <a:r>
              <a:rPr lang="en-US">
                <a:cs typeface="Calibri"/>
              </a:rPr>
              <a:t>, </a:t>
            </a:r>
            <a:br>
              <a:rPr lang="en-US">
                <a:cs typeface="+mn-lt"/>
              </a:rPr>
            </a:br>
            <a:r>
              <a:rPr lang="en-US">
                <a:cs typeface="Calibri"/>
              </a:rPr>
              <a:t>I </a:t>
            </a:r>
            <a:r>
              <a:rPr lang="en-US" err="1">
                <a:cs typeface="Calibri"/>
              </a:rPr>
              <a:t>flere</a:t>
            </a:r>
            <a:r>
              <a:rPr lang="en-US">
                <a:cs typeface="Calibri"/>
              </a:rPr>
              <a:t> </a:t>
            </a:r>
            <a:r>
              <a:rPr lang="en-US" err="1">
                <a:cs typeface="Calibri"/>
              </a:rPr>
              <a:t>omgang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p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ekt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brukere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mens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jeneste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utvikles</a:t>
            </a:r>
            <a:r>
              <a:rPr lang="en-US">
                <a:cs typeface="Calibri"/>
              </a:rPr>
              <a:t>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6387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Tjeneste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igital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ødsbo</a:t>
            </a:r>
            <a:r>
              <a:rPr lang="en-US">
                <a:ea typeface="Calibri"/>
                <a:cs typeface="Calibri"/>
              </a:rPr>
              <a:t> er </a:t>
            </a:r>
            <a:r>
              <a:rPr lang="en-US" err="1">
                <a:ea typeface="Calibri"/>
                <a:cs typeface="Calibri"/>
              </a:rPr>
              <a:t>brukerteste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rundi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og</a:t>
            </a:r>
            <a:r>
              <a:rPr lang="en-US">
                <a:ea typeface="Calibri"/>
                <a:cs typeface="Calibri"/>
              </a:rPr>
              <a:t> I mange </a:t>
            </a:r>
            <a:r>
              <a:rPr lang="en-US" err="1">
                <a:ea typeface="Calibri"/>
                <a:cs typeface="Calibri"/>
              </a:rPr>
              <a:t>omganger</a:t>
            </a:r>
            <a:r>
              <a:rPr lang="en-US">
                <a:ea typeface="Calibri"/>
                <a:cs typeface="Calibri"/>
              </a:rPr>
              <a:t>, </a:t>
            </a:r>
            <a:r>
              <a:rPr lang="en-US" err="1">
                <a:ea typeface="Calibri"/>
                <a:cs typeface="Calibri"/>
              </a:rPr>
              <a:t>undervei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mens</a:t>
            </a:r>
            <a:r>
              <a:rPr lang="en-US">
                <a:ea typeface="Calibri"/>
                <a:cs typeface="Calibri"/>
              </a:rPr>
              <a:t> den </a:t>
            </a:r>
            <a:r>
              <a:rPr lang="en-US" err="1">
                <a:ea typeface="Calibri"/>
                <a:cs typeface="Calibri"/>
              </a:rPr>
              <a:t>bl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utviklet</a:t>
            </a:r>
            <a:r>
              <a:rPr lang="en-US">
                <a:ea typeface="Calibri"/>
                <a:cs typeface="Calibri"/>
              </a:rPr>
              <a:t>.</a:t>
            </a:r>
            <a:br>
              <a:rPr lang="en-US">
                <a:ea typeface="Calibri"/>
                <a:cs typeface="+mn-lt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5795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Tjeneste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igital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ødsbo</a:t>
            </a:r>
            <a:r>
              <a:rPr lang="en-US">
                <a:ea typeface="Calibri"/>
                <a:cs typeface="Calibri"/>
              </a:rPr>
              <a:t> er </a:t>
            </a:r>
            <a:r>
              <a:rPr lang="en-US" err="1">
                <a:ea typeface="Calibri"/>
                <a:cs typeface="Calibri"/>
              </a:rPr>
              <a:t>brukerteste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rundi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og</a:t>
            </a:r>
            <a:r>
              <a:rPr lang="en-US">
                <a:ea typeface="Calibri"/>
                <a:cs typeface="Calibri"/>
              </a:rPr>
              <a:t> I mange </a:t>
            </a:r>
            <a:r>
              <a:rPr lang="en-US" err="1">
                <a:ea typeface="Calibri"/>
                <a:cs typeface="Calibri"/>
              </a:rPr>
              <a:t>omganger</a:t>
            </a:r>
            <a:r>
              <a:rPr lang="en-US">
                <a:ea typeface="Calibri"/>
                <a:cs typeface="Calibri"/>
              </a:rPr>
              <a:t>, </a:t>
            </a:r>
            <a:r>
              <a:rPr lang="en-US" err="1">
                <a:ea typeface="Calibri"/>
                <a:cs typeface="Calibri"/>
              </a:rPr>
              <a:t>undervei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mens</a:t>
            </a:r>
            <a:r>
              <a:rPr lang="en-US">
                <a:ea typeface="Calibri"/>
                <a:cs typeface="Calibri"/>
              </a:rPr>
              <a:t> den </a:t>
            </a:r>
            <a:r>
              <a:rPr lang="en-US" err="1">
                <a:ea typeface="Calibri"/>
                <a:cs typeface="Calibri"/>
              </a:rPr>
              <a:t>bl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utviklet</a:t>
            </a:r>
            <a:r>
              <a:rPr lang="en-US">
                <a:ea typeface="Calibri"/>
                <a:cs typeface="Calibri"/>
              </a:rPr>
              <a:t>.</a:t>
            </a:r>
            <a:br>
              <a:rPr lang="en-US">
                <a:ea typeface="Calibri"/>
                <a:cs typeface="+mn-lt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7346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Tjeneste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igital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dødsbo</a:t>
            </a:r>
            <a:r>
              <a:rPr lang="en-US">
                <a:ea typeface="Calibri"/>
                <a:cs typeface="Calibri"/>
              </a:rPr>
              <a:t> er </a:t>
            </a:r>
            <a:r>
              <a:rPr lang="en-US" err="1">
                <a:ea typeface="Calibri"/>
                <a:cs typeface="Calibri"/>
              </a:rPr>
              <a:t>brukertestet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grundi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og</a:t>
            </a:r>
            <a:r>
              <a:rPr lang="en-US">
                <a:ea typeface="Calibri"/>
                <a:cs typeface="Calibri"/>
              </a:rPr>
              <a:t> I mange </a:t>
            </a:r>
            <a:r>
              <a:rPr lang="en-US" err="1">
                <a:ea typeface="Calibri"/>
                <a:cs typeface="Calibri"/>
              </a:rPr>
              <a:t>omganger</a:t>
            </a:r>
            <a:r>
              <a:rPr lang="en-US">
                <a:ea typeface="Calibri"/>
                <a:cs typeface="Calibri"/>
              </a:rPr>
              <a:t>, </a:t>
            </a:r>
            <a:r>
              <a:rPr lang="en-US" err="1">
                <a:ea typeface="Calibri"/>
                <a:cs typeface="Calibri"/>
              </a:rPr>
              <a:t>underveis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mens</a:t>
            </a:r>
            <a:r>
              <a:rPr lang="en-US">
                <a:ea typeface="Calibri"/>
                <a:cs typeface="Calibri"/>
              </a:rPr>
              <a:t> den </a:t>
            </a:r>
            <a:r>
              <a:rPr lang="en-US" err="1">
                <a:ea typeface="Calibri"/>
                <a:cs typeface="Calibri"/>
              </a:rPr>
              <a:t>bl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utviklet</a:t>
            </a:r>
            <a:r>
              <a:rPr lang="en-US">
                <a:ea typeface="Calibri"/>
                <a:cs typeface="Calibri"/>
              </a:rPr>
              <a:t>.</a:t>
            </a:r>
            <a:br>
              <a:rPr lang="en-US">
                <a:ea typeface="Calibri"/>
                <a:cs typeface="+mn-lt"/>
              </a:rPr>
            </a:br>
            <a:endParaRPr lang="en-US"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0417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Digdir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inviterte</a:t>
            </a:r>
            <a:r>
              <a:rPr lang="en-US">
                <a:ea typeface="Calibri"/>
                <a:cs typeface="Calibri"/>
              </a:rPr>
              <a:t> 11 </a:t>
            </a:r>
            <a:r>
              <a:rPr lang="en-US" err="1">
                <a:ea typeface="Calibri"/>
                <a:cs typeface="Calibri"/>
              </a:rPr>
              <a:t>ulike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interessenter</a:t>
            </a:r>
            <a:r>
              <a:rPr lang="en-US">
                <a:ea typeface="Calibri"/>
                <a:cs typeface="Calibri"/>
              </a:rPr>
              <a:t>/</a:t>
            </a:r>
            <a:r>
              <a:rPr lang="en-US" err="1">
                <a:ea typeface="Calibri"/>
                <a:cs typeface="Calibri"/>
              </a:rPr>
              <a:t>aktører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fra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offentlig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og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privat</a:t>
            </a:r>
            <a:r>
              <a:rPr lang="en-US">
                <a:ea typeface="Calibri"/>
                <a:cs typeface="Calibri"/>
              </a:rPr>
              <a:t> </a:t>
            </a:r>
            <a:r>
              <a:rPr lang="en-US" err="1">
                <a:ea typeface="Calibri"/>
                <a:cs typeface="Calibri"/>
              </a:rPr>
              <a:t>sekto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til</a:t>
            </a:r>
            <a:r>
              <a:rPr lang="en-US">
                <a:ea typeface="Calibri"/>
                <a:cs typeface="Calibri"/>
              </a:rPr>
              <a:t> å delta I </a:t>
            </a:r>
            <a:r>
              <a:rPr lang="en-US" err="1">
                <a:ea typeface="Calibri"/>
                <a:cs typeface="Calibri"/>
              </a:rPr>
              <a:t>begrepsprosjektet</a:t>
            </a:r>
            <a:r>
              <a:rPr lang="en-US">
                <a:ea typeface="Calibri"/>
                <a:cs typeface="Calibri"/>
              </a:rPr>
              <a:t>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498F4-2579-45C2-A257-D892C354D778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0257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75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75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06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7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34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04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0390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9193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35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4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2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95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6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93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911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1962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70644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6735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08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7373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1974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89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E2BC47-23C8-6F42-95F7-E4F786F0E1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49" y="1122760"/>
            <a:ext cx="9143702" cy="2387203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A32E24C-0AAB-B142-8A1D-445274360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49" y="3601641"/>
            <a:ext cx="9143702" cy="165615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21B49C7-E4E3-EB4A-96E1-98EB08F26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F00E187-DC6F-9742-9C08-D931D31BC6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121DE7-DEBF-9141-8BE5-319E87F52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86302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F98122E-A8C9-4240-A241-533AAE96D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82" y="365523"/>
            <a:ext cx="10515436" cy="132516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3D0A4A3-BC7C-2147-95CD-169DE68CF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82" y="1825229"/>
            <a:ext cx="10515436" cy="43517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72108EF-E468-794E-BF65-8371D10516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7318915-95D0-4E43-A070-6E44E9AA2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AB18F6-62B4-8548-B754-B1396E3C3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91095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DEF106-2D2D-3149-8F8A-BD46B83D8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328" y="1709737"/>
            <a:ext cx="10515436" cy="2852738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C9B9B56-35B0-2445-AAAC-8345975E17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328" y="4589860"/>
            <a:ext cx="10515436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5CA4DA2-DC69-8A49-9598-1F57EC96FA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694764C-B26F-0C40-BC44-76CE05885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E9929C4-AC32-F84D-9478-06454D5D4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11193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1A2E90-32BC-0B41-B95D-E3511F8F0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82" y="365523"/>
            <a:ext cx="10515436" cy="132516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761470E-99FB-D64E-9500-AD1B2AFEBC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82" y="1825229"/>
            <a:ext cx="5199967" cy="43517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55BCF00-7B9D-C24C-93D6-B1498C7A9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52560" y="1825229"/>
            <a:ext cx="5201158" cy="43517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2BAB29F-1D3D-9A47-AEAB-CD401B5382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C59F9CF-93C0-1F4A-A634-E75FDA0A0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F1F9289-4A7C-254A-8375-923C48A28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02416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57CC90-EFCC-BE40-B781-E141E98DAD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73" y="365523"/>
            <a:ext cx="10515436" cy="132516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35AE7-A798-4740-9D5C-5F0C229483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473" y="1681162"/>
            <a:ext cx="5158291" cy="82391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1EE1451-D2DE-D144-B207-FD1D6C72AE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473" y="2505075"/>
            <a:ext cx="5158291" cy="36849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F07B0AE-2593-964E-978C-8D60D319D4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1613" y="1681162"/>
            <a:ext cx="5183296" cy="82391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5343F698-F649-604B-86D6-D3852EF244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1613" y="2505075"/>
            <a:ext cx="5183296" cy="36849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D29E428-2E76-3A40-9D4A-6034BEA2F7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4942DA55-2FDF-454D-9E14-D9D64F219A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26F8997-D318-0646-AE1A-9F5392015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36068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EA053D-A4B5-F84E-8A24-C6D79527F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82" y="365523"/>
            <a:ext cx="10515436" cy="132516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F5B48B3-431E-0A49-9C54-F4AC031EEF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B36B258-365A-FF4E-B49D-F4E3B3C32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B799C9E-CE05-1C4F-AC94-D79C84B04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47206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FEE0229-F8E9-584D-B017-7200E6542B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60B90EB-7711-8E40-AB39-8F85DD694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D9D599E-16EA-6043-9D19-C5124569F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00336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E6E7A7-152A-6148-B0F7-75B846E01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73" y="457200"/>
            <a:ext cx="3933018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9BDC79D-4E21-FD43-A95B-838E384987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297" y="987029"/>
            <a:ext cx="6171612" cy="48744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F43EDD3-7A66-0349-8427-A76D2BE2E7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473" y="2057400"/>
            <a:ext cx="3933018" cy="3811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D0533B9-3B8D-584D-9E89-486F6A3654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BC33E78-D0AA-AC43-8456-C0468CCC9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004992C-6D38-614B-921A-CAAB39A92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8561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8F8C732-FA86-6349-B844-F94E13C50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73" y="457200"/>
            <a:ext cx="3933018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C13E7E8-E5F3-8546-8259-C59F898693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297" y="987029"/>
            <a:ext cx="6171612" cy="487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9571203-C613-8043-B32F-9178851F9F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473" y="2057400"/>
            <a:ext cx="3933018" cy="3811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D57BFDB-8AE1-514E-AAD3-EA736EEBD6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C980CEE-17A1-8F42-9ECC-515BC744F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61CAFC6-61D1-FE42-A731-8F4ADDCEE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0669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3AD0212-5D76-F44D-9138-BFA710063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82" y="365523"/>
            <a:ext cx="10515436" cy="132516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4FFB0652-CD29-ED48-92A9-118F1A7796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82" y="1825229"/>
            <a:ext cx="10515436" cy="435173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EC70255-49EF-0B49-8D22-24B89392A1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B9B0A20-E27E-C141-A5AA-B3160E669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6523709-1BB1-1742-A93A-0945EDDD7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35045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4FC25569-CD8E-ED4E-B61E-00EF6DA5C3C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5752" y="365523"/>
            <a:ext cx="2627966" cy="5811440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C07ADD4D-2A21-514A-8B45-EBE0892986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82" y="365523"/>
            <a:ext cx="7773159" cy="581144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400702A-E45D-CF46-A3C9-3C44C55888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82" y="6356748"/>
            <a:ext cx="2743468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95FAD1D-65D3-AF4B-94DE-512CCE4F1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995" y="6356748"/>
            <a:ext cx="4114011" cy="364331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BE0F7D7-6E5B-454C-A585-4DCB7F287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250" y="6356748"/>
            <a:ext cx="2743468" cy="364331"/>
          </a:xfrm>
          <a:prstGeom prst="rect">
            <a:avLst/>
          </a:prstGeom>
        </p:spPr>
        <p:txBody>
          <a:bodyPr/>
          <a:lstStyle/>
          <a:p>
            <a:fld id="{A9C40218-3D60-2A4E-A71D-BA877B927F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99308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682ADBF6-582E-CB46-91C9-43E861ECDD1E}"/>
              </a:ext>
            </a:extLst>
          </p:cNvPr>
          <p:cNvSpPr/>
          <p:nvPr userDrawn="1"/>
        </p:nvSpPr>
        <p:spPr>
          <a:xfrm>
            <a:off x="670957" y="655983"/>
            <a:ext cx="10879440" cy="5516217"/>
          </a:xfrm>
          <a:prstGeom prst="rect">
            <a:avLst/>
          </a:prstGeom>
          <a:solidFill>
            <a:srgbClr val="EB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D73F08F-3327-E246-A3AF-398B2B2B8D3B}"/>
              </a:ext>
            </a:extLst>
          </p:cNvPr>
          <p:cNvSpPr txBox="1"/>
          <p:nvPr userDrawn="1"/>
        </p:nvSpPr>
        <p:spPr>
          <a:xfrm>
            <a:off x="5414642" y="1385484"/>
            <a:ext cx="4935935" cy="854080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nb-NO" sz="1500" b="1">
                <a:ea typeface="+mn-lt"/>
                <a:cs typeface="+mn-lt"/>
              </a:rPr>
              <a:t>Intro</a:t>
            </a:r>
            <a:endParaRPr lang="nb-NO" sz="1500" b="1">
              <a:cs typeface="Arial"/>
            </a:endParaRPr>
          </a:p>
          <a:p>
            <a:endParaRPr lang="nb-NO" sz="1200" b="1">
              <a:ea typeface="+mn-lt"/>
              <a:cs typeface="+mn-lt"/>
            </a:endParaRPr>
          </a:p>
          <a:p>
            <a:r>
              <a:rPr lang="nb-NO" sz="1200" b="1">
                <a:ea typeface="+mn-lt"/>
                <a:cs typeface="+mn-lt"/>
              </a:rPr>
              <a:t>De viktigste trinnene i fasen:</a:t>
            </a:r>
            <a:endParaRPr lang="nb-NO" sz="1500" b="1">
              <a:ea typeface="+mn-lt"/>
              <a:cs typeface="Arial"/>
            </a:endParaRPr>
          </a:p>
          <a:p>
            <a:r>
              <a:rPr lang="nb-NO" sz="1200" b="0">
                <a:ea typeface="+mn-lt"/>
                <a:cs typeface="Arial"/>
              </a:rPr>
              <a:t>Brødtekst</a:t>
            </a:r>
            <a:endParaRPr lang="nb-NO" sz="1200" b="0">
              <a:cs typeface="Arial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D855FA1-24E1-064E-8B6E-81EDB8D8EAE2}"/>
              </a:ext>
            </a:extLst>
          </p:cNvPr>
          <p:cNvSpPr txBox="1"/>
          <p:nvPr userDrawn="1"/>
        </p:nvSpPr>
        <p:spPr>
          <a:xfrm>
            <a:off x="1553844" y="1733170"/>
            <a:ext cx="3694529" cy="392415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nb-NO" sz="2100" b="1"/>
              <a:t>Fase 1: Beskrivelse av fasen</a:t>
            </a:r>
            <a:endParaRPr lang="nb-NO" sz="2100"/>
          </a:p>
        </p:txBody>
      </p:sp>
    </p:spTree>
    <p:extLst>
      <p:ext uri="{BB962C8B-B14F-4D97-AF65-F5344CB8AC3E}">
        <p14:creationId xmlns:p14="http://schemas.microsoft.com/office/powerpoint/2010/main" val="1952762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pos="51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81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82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97216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9087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43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61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4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600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59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6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339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43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348" y="1110721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73348" y="1840302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32212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1773346" y="1883229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512153" y="1883229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348" y="1110721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0589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" y="5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24890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" y="1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3347" y="3982456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8372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31" y="76204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98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4044" y="5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0034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6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98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429430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0180" y="253788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7957" y="1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86532" y="3642056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209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774546" y="675087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5931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040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767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 hasCustomPrompt="1"/>
          </p:nvPr>
        </p:nvSpPr>
        <p:spPr>
          <a:xfrm>
            <a:off x="1774646" y="2760903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7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5242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767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2" y="3221746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7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7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2" y="5476876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39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undertittel 0" type="tx">
  <p:cSld name="Tittel og undertittel 0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title"/>
          </p:nvPr>
        </p:nvSpPr>
        <p:spPr>
          <a:xfrm>
            <a:off x="894425" y="1154102"/>
            <a:ext cx="10403156" cy="23192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00" tIns="19000" rIns="19000" bIns="190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body" idx="1"/>
          </p:nvPr>
        </p:nvSpPr>
        <p:spPr>
          <a:xfrm>
            <a:off x="894425" y="3536730"/>
            <a:ext cx="10403156" cy="79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00" tIns="19000" rIns="19000" bIns="19000" anchor="t" anchorCtr="0">
            <a:noAutofit/>
          </a:bodyPr>
          <a:lstStyle>
            <a:lvl1pPr marL="609454" lvl="0" indent="-304727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1pPr>
            <a:lvl2pPr marL="1218908" lvl="1" indent="-304727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2pPr>
            <a:lvl3pPr marL="1828361" lvl="2" indent="-304727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3pPr>
            <a:lvl4pPr marL="2437817" lvl="3" indent="-304727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4pPr>
            <a:lvl5pPr marL="3047270" lvl="4" indent="-304727" algn="ctr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/>
            </a:lvl5pPr>
            <a:lvl6pPr marL="3656723" lvl="5" indent="-372445" algn="l">
              <a:lnSpc>
                <a:spcPct val="100000"/>
              </a:lnSpc>
              <a:spcBef>
                <a:spcPts val="2933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6pPr>
            <a:lvl7pPr marL="4266177" lvl="6" indent="-372445" algn="l">
              <a:lnSpc>
                <a:spcPct val="100000"/>
              </a:lnSpc>
              <a:spcBef>
                <a:spcPts val="2933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7pPr>
            <a:lvl8pPr marL="4875632" lvl="7" indent="-372445" algn="l">
              <a:lnSpc>
                <a:spcPct val="100000"/>
              </a:lnSpc>
              <a:spcBef>
                <a:spcPts val="2933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8pPr>
            <a:lvl9pPr marL="5485085" lvl="8" indent="-372445" algn="l">
              <a:lnSpc>
                <a:spcPct val="100000"/>
              </a:lnSpc>
              <a:spcBef>
                <a:spcPts val="2933"/>
              </a:spcBef>
              <a:spcAft>
                <a:spcPts val="0"/>
              </a:spcAft>
              <a:buClr>
                <a:srgbClr val="000000"/>
              </a:buClr>
              <a:buSzPts val="800"/>
              <a:buChar char="•"/>
              <a:defRPr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6032532" y="6534023"/>
            <a:ext cx="120595" cy="187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00" tIns="19000" rIns="19000" bIns="1900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Helvetica Neue Light"/>
              <a:buNone/>
              <a:defRPr sz="933"/>
            </a:lvl9pPr>
          </a:lstStyle>
          <a:p>
            <a:fld id="{00000000-1234-1234-1234-123412341234}" type="slidenum">
              <a:rPr lang="no" smtClean="0"/>
              <a:pPr/>
              <a:t>‹#›</a:t>
            </a:fld>
            <a:endParaRPr lang="no" sz="1200"/>
          </a:p>
        </p:txBody>
      </p:sp>
    </p:spTree>
    <p:extLst>
      <p:ext uri="{BB962C8B-B14F-4D97-AF65-F5344CB8AC3E}">
        <p14:creationId xmlns:p14="http://schemas.microsoft.com/office/powerpoint/2010/main" val="20350441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DE521DD-F869-4942-ACAE-34C787B896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360680"/>
            <a:ext cx="11430000" cy="9906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sz="4000" b="0" i="0" cap="all" baseline="0">
                <a:solidFill>
                  <a:srgbClr val="000000"/>
                </a:solidFill>
                <a:latin typeface="Graphik Black" panose="020B0A03030202060203" pitchFamily="34" charset="0"/>
              </a:defRPr>
            </a:lvl1pPr>
          </a:lstStyle>
          <a:p>
            <a:pPr lvl="0" fontAlgn="base">
              <a:lnSpc>
                <a:spcPct val="80000"/>
              </a:lnSpc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latin typeface="Graphik Black" panose="020B0503030202060203" pitchFamily="34" charset="77"/>
                <a:cs typeface="Arial" panose="020B0604020202020204" pitchFamily="34" charset="0"/>
              </a:rPr>
              <a:t>INSERT MAIN TITLE AT 40PT MIN 30PT</a:t>
            </a:r>
          </a:p>
        </p:txBody>
      </p:sp>
    </p:spTree>
    <p:extLst>
      <p:ext uri="{BB962C8B-B14F-4D97-AF65-F5344CB8AC3E}">
        <p14:creationId xmlns:p14="http://schemas.microsoft.com/office/powerpoint/2010/main" val="9959428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8E018-4377-01D8-90C5-85688C57C3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B67578-001D-8AF8-221C-8AADD1E165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916364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3DB6CBE-027D-E841-5BF3-9B8573DCEF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9160857-D6FD-6DAD-9B24-9F1BFB218C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1752184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75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75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06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7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err="1">
                <a:solidFill>
                  <a:schemeClr val="bg1"/>
                </a:solidFill>
              </a:rPr>
              <a:t>Skrivarevegen</a:t>
            </a:r>
            <a:r>
              <a:rPr lang="nb-NO" sz="900" b="1">
                <a:solidFill>
                  <a:schemeClr val="bg1"/>
                </a:solidFill>
              </a:rPr>
              <a:t>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453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image" Target="../media/image17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7" r:id="rId2"/>
    <p:sldLayoutId id="2147483717" r:id="rId3"/>
    <p:sldLayoutId id="2147483713" r:id="rId4"/>
    <p:sldLayoutId id="2147483721" r:id="rId5"/>
    <p:sldLayoutId id="2147483720" r:id="rId6"/>
    <p:sldLayoutId id="2147483719" r:id="rId7"/>
    <p:sldLayoutId id="2147483718" r:id="rId8"/>
    <p:sldLayoutId id="2147483735" r:id="rId9"/>
    <p:sldLayoutId id="2147483736" r:id="rId10"/>
    <p:sldLayoutId id="2147483737" r:id="rId11"/>
    <p:sldLayoutId id="2147483650" r:id="rId12"/>
    <p:sldLayoutId id="2147483652" r:id="rId13"/>
    <p:sldLayoutId id="2147483657" r:id="rId14"/>
    <p:sldLayoutId id="2147483656" r:id="rId15"/>
    <p:sldLayoutId id="2147483669" r:id="rId16"/>
    <p:sldLayoutId id="2147483658" r:id="rId17"/>
    <p:sldLayoutId id="2147483659" r:id="rId18"/>
    <p:sldLayoutId id="2147483651" r:id="rId19"/>
    <p:sldLayoutId id="2147483671" r:id="rId2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7436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7111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F7F971-9025-4C8C-B60B-D077A50195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312151383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0" imgH="350" progId="TCLayout.ActiveDocument.1">
                  <p:embed/>
                </p:oleObj>
              </mc:Choice>
              <mc:Fallback>
                <p:oleObj name="think-cell Slide" r:id="rId26" imgW="350" imgH="3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F7F971-9025-4C8C-B60B-D077A5019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21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302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9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51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13677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278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4984" indent="-404984" algn="l" defTabSz="914278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592" indent="-428609" algn="l" defTabSz="914278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582" indent="-428609" algn="l" defTabSz="914278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849" indent="-342887" algn="l" defTabSz="914278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839" indent="-342887" algn="l" defTabSz="914278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263" indent="-228570" algn="l" defTabSz="9142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3" indent="-228570" algn="l" defTabSz="9142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1" indent="-228570" algn="l" defTabSz="9142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0" indent="-228570" algn="l" defTabSz="9142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8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7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5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3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1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1" algn="l" defTabSz="9142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0363201" y="565550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8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300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6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131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</p:sldLayoutIdLst>
  <p:hf hdr="0" dt="0"/>
  <p:txStyles>
    <p:titleStyle>
      <a:lvl1pPr algn="l" defTabSz="914222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4960" indent="-404960" algn="l" defTabSz="914222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542" indent="-428582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515" indent="-428582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771" indent="-342866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744" indent="-342866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112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3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2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7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1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767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7ACD0B3-3AE5-9763-E93D-1158D31AFA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458" y="2887998"/>
            <a:ext cx="5913968" cy="3076700"/>
          </a:xfrm>
        </p:spPr>
        <p:txBody>
          <a:bodyPr>
            <a:normAutofit fontScale="90000"/>
          </a:bodyPr>
          <a:lstStyle/>
          <a:p>
            <a:br>
              <a:rPr lang="nb-NO" sz="3950" dirty="0"/>
            </a:br>
            <a:br>
              <a:rPr lang="nb-NO" sz="3950" dirty="0"/>
            </a:br>
            <a:br>
              <a:rPr lang="nb-NO" sz="3950" dirty="0"/>
            </a:br>
            <a:br>
              <a:rPr lang="nb-NO" sz="3950" dirty="0"/>
            </a:br>
            <a:r>
              <a:rPr lang="nb-NO" sz="3200" dirty="0">
                <a:cs typeface="Arial"/>
              </a:rPr>
              <a:t>Samarbeidsportalen</a:t>
            </a:r>
            <a:br>
              <a:rPr lang="nb-NO" sz="3200" dirty="0">
                <a:cs typeface="Arial"/>
              </a:rPr>
            </a:br>
            <a:br>
              <a:rPr lang="nb-NO" sz="3950" dirty="0"/>
            </a:br>
            <a:r>
              <a:rPr lang="nb-NO" sz="3950" dirty="0"/>
              <a:t>Avvikling av </a:t>
            </a:r>
            <a:r>
              <a:rPr lang="nb-NO" sz="3950" dirty="0" err="1"/>
              <a:t>Altinn</a:t>
            </a:r>
            <a:r>
              <a:rPr lang="nb-NO" sz="3950" dirty="0"/>
              <a:t> Digital</a:t>
            </a:r>
            <a:br>
              <a:rPr lang="nb-NO" sz="3200" dirty="0">
                <a:cs typeface="Arial"/>
              </a:rPr>
            </a:br>
            <a:br>
              <a:rPr lang="nb-NO" sz="3200" dirty="0"/>
            </a:br>
            <a:r>
              <a:rPr lang="nb-NO" sz="2000" dirty="0">
                <a:cs typeface="Arial"/>
              </a:rPr>
              <a:t>Digdir 26. juni 2024</a:t>
            </a:r>
            <a:br>
              <a:rPr lang="nb-NO" sz="2800" dirty="0">
                <a:cs typeface="Arial"/>
              </a:rPr>
            </a:br>
            <a:endParaRPr lang="nb-NO" sz="2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718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BC1D5861-463C-97DD-E958-3C1BCC25265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0" tIns="0" rIns="0" bIns="0" rtlCol="0" anchor="t">
            <a:normAutofit lnSpcReduction="10000"/>
          </a:bodyPr>
          <a:lstStyle/>
          <a:p>
            <a:pPr marL="404495" indent="-404495"/>
            <a:r>
              <a:rPr lang="nb-NO" sz="2000" dirty="0">
                <a:cs typeface="Arial"/>
              </a:rPr>
              <a:t>Brukerstøtten må en god opplæring i bruk av systemet og rutinene for videre sending. De lærer mye av testen som de gjør</a:t>
            </a:r>
          </a:p>
          <a:p>
            <a:pPr marL="404495" indent="-404495"/>
            <a:r>
              <a:rPr lang="nb-NO" sz="2000" dirty="0">
                <a:cs typeface="Arial"/>
              </a:rPr>
              <a:t>Produkteiere trenger å gå inn for å oppdatere produktinformasjon og det kan gå via en redaktør</a:t>
            </a:r>
          </a:p>
          <a:p>
            <a:pPr marL="404495" indent="-404495"/>
            <a:r>
              <a:rPr lang="nb-NO" sz="2000" dirty="0">
                <a:cs typeface="Arial"/>
              </a:rPr>
              <a:t>Forretning og marked trenger innsyn i saker på TE</a:t>
            </a:r>
          </a:p>
          <a:p>
            <a:pPr marL="404495" indent="-404495"/>
            <a:r>
              <a:rPr lang="nb-NO" sz="2000" dirty="0">
                <a:cs typeface="Arial"/>
              </a:rPr>
              <a:t>Tilgang til en redaktør som lærer systemet og kan være med i videre utviklingen av behovene som BOD har</a:t>
            </a:r>
          </a:p>
          <a:p>
            <a:pPr marL="0" indent="0">
              <a:buNone/>
            </a:pPr>
            <a:endParaRPr lang="nb-NO" sz="2000" dirty="0">
              <a:cs typeface="Arial"/>
            </a:endParaRPr>
          </a:p>
          <a:p>
            <a:pPr marL="0" indent="0">
              <a:buNone/>
            </a:pPr>
            <a:endParaRPr lang="nb-NO" sz="2000" dirty="0">
              <a:cs typeface="Arial"/>
            </a:endParaRPr>
          </a:p>
          <a:p>
            <a:pPr marL="404495" indent="-404495"/>
            <a:endParaRPr lang="nb-NO" sz="2000" dirty="0">
              <a:cs typeface="Arial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5411D9E-DB18-6BAD-6229-E63463CFA0D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endParaRPr lang="nb-NO">
              <a:cs typeface="Arial" panose="020B0604020202020204"/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4829ED5-0A11-0755-1140-60722277D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36595"/>
            <a:ext cx="9222298" cy="519373"/>
          </a:xfrm>
        </p:spPr>
        <p:txBody>
          <a:bodyPr/>
          <a:lstStyle/>
          <a:p>
            <a:r>
              <a:rPr lang="nb-NO" sz="2800" dirty="0">
                <a:cs typeface="Arial"/>
              </a:rPr>
              <a:t>Kompetanseoverføring - Opplæring i september</a:t>
            </a:r>
          </a:p>
        </p:txBody>
      </p:sp>
      <p:pic>
        <p:nvPicPr>
          <p:cNvPr id="6" name="Bilde 5" descr="Et bilde som inneholder clip art, illustrasjon, tegnefilm, kunst&#10;&#10;Automatisk generert beskrivelse">
            <a:extLst>
              <a:ext uri="{FF2B5EF4-FFF2-40B4-BE49-F238E27FC236}">
                <a16:creationId xmlns:a16="http://schemas.microsoft.com/office/drawing/2014/main" id="{B02B8850-7F97-AF5F-A354-F269B5084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153" y="2251339"/>
            <a:ext cx="4483492" cy="31608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3583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8D299AD-A00E-47EF-A53A-2F2F4385B3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4457" y="2702859"/>
            <a:ext cx="8108577" cy="3186952"/>
          </a:xfrm>
        </p:spPr>
        <p:txBody>
          <a:bodyPr>
            <a:normAutofit/>
          </a:bodyPr>
          <a:lstStyle/>
          <a:p>
            <a:r>
              <a:rPr lang="nb-NO" sz="2700" b="1"/>
              <a:t> </a:t>
            </a:r>
            <a:r>
              <a:rPr lang="nb-NO" sz="4000" b="1"/>
              <a:t> </a:t>
            </a:r>
            <a:br>
              <a:rPr lang="nb-NO" sz="4000"/>
            </a:br>
            <a:br>
              <a:rPr lang="nb-NO" sz="2700"/>
            </a:br>
            <a:br>
              <a:rPr lang="nb-NO" sz="2700">
                <a:cs typeface="Arial"/>
              </a:rPr>
            </a:br>
            <a:br>
              <a:rPr lang="nb-NO" sz="2700">
                <a:cs typeface="Arial"/>
              </a:rPr>
            </a:br>
            <a:br>
              <a:rPr lang="nb-NO" sz="1350" b="1"/>
            </a:br>
            <a:br>
              <a:rPr lang="nb-NO" sz="600">
                <a:latin typeface="-apple-system"/>
              </a:rPr>
            </a:br>
            <a:endParaRPr lang="nb-NO" sz="2700"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88F37EE-8E4F-2E56-8A34-86596112BA13}"/>
              </a:ext>
            </a:extLst>
          </p:cNvPr>
          <p:cNvSpPr txBox="1"/>
          <p:nvPr/>
        </p:nvSpPr>
        <p:spPr>
          <a:xfrm>
            <a:off x="4629873" y="2581155"/>
            <a:ext cx="5139368" cy="172611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/>
              <a:buChar char="•"/>
            </a:pPr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spcBef>
                <a:spcPts val="600"/>
              </a:spcBef>
              <a:spcAft>
                <a:spcPts val="500"/>
              </a:spcAft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Videre ajourføring og oppdateringer kommer</a:t>
            </a:r>
          </a:p>
          <a:p>
            <a:pPr>
              <a:spcBef>
                <a:spcPts val="600"/>
              </a:spcBef>
              <a:spcAft>
                <a:spcPts val="500"/>
              </a:spcAft>
            </a:pPr>
            <a:endParaRPr lang="nb-NO" sz="2400" dirty="0">
              <a:solidFill>
                <a:schemeClr val="bg1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35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8D299AD-A00E-47EF-A53A-2F2F4385B3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4457" y="2702859"/>
            <a:ext cx="8108577" cy="3186952"/>
          </a:xfrm>
        </p:spPr>
        <p:txBody>
          <a:bodyPr>
            <a:normAutofit/>
          </a:bodyPr>
          <a:lstStyle/>
          <a:p>
            <a:r>
              <a:rPr lang="nb-NO" sz="2700" b="1"/>
              <a:t> </a:t>
            </a:r>
            <a:r>
              <a:rPr lang="nb-NO" sz="4000" b="1"/>
              <a:t> </a:t>
            </a:r>
            <a:br>
              <a:rPr lang="nb-NO" sz="4000"/>
            </a:br>
            <a:br>
              <a:rPr lang="nb-NO" sz="2700"/>
            </a:br>
            <a:br>
              <a:rPr lang="nb-NO" sz="2700">
                <a:cs typeface="Arial"/>
              </a:rPr>
            </a:br>
            <a:br>
              <a:rPr lang="nb-NO" sz="2700">
                <a:cs typeface="Arial"/>
              </a:rPr>
            </a:br>
            <a:br>
              <a:rPr lang="nb-NO" sz="1350" b="1"/>
            </a:br>
            <a:br>
              <a:rPr lang="nb-NO" sz="600">
                <a:latin typeface="-apple-system"/>
              </a:rPr>
            </a:br>
            <a:endParaRPr lang="nb-NO" sz="2700"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88F37EE-8E4F-2E56-8A34-86596112BA13}"/>
              </a:ext>
            </a:extLst>
          </p:cNvPr>
          <p:cNvSpPr txBox="1"/>
          <p:nvPr/>
        </p:nvSpPr>
        <p:spPr>
          <a:xfrm>
            <a:off x="4643119" y="1625601"/>
            <a:ext cx="5126121" cy="64607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Wingdings"/>
              <a:buChar char="Ø"/>
            </a:pPr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spcBef>
                <a:spcPts val="600"/>
              </a:spcBef>
              <a:spcAft>
                <a:spcPts val="500"/>
              </a:spcAft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Status: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Flytting av informasjon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Utvikling av bestillingsskjema 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Flytting av statistikk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Flytting av </a:t>
            </a:r>
            <a:r>
              <a:rPr lang="nb-NO" sz="2400" dirty="0" err="1">
                <a:solidFill>
                  <a:schemeClr val="bg1"/>
                </a:solidFill>
                <a:latin typeface="Calibri"/>
                <a:cs typeface="Arial"/>
              </a:rPr>
              <a:t>eventer</a:t>
            </a: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 og hendelser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Flytting av SBS portal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Lisenser og rutiner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Informasjon til TE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r>
              <a:rPr lang="nb-NO" sz="2400" dirty="0">
                <a:solidFill>
                  <a:schemeClr val="bg1"/>
                </a:solidFill>
                <a:latin typeface="Calibri"/>
                <a:cs typeface="Arial"/>
              </a:rPr>
              <a:t>Opplæring</a:t>
            </a: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Courier New" panose="02070309020205020404" pitchFamily="49" charset="0"/>
              <a:buChar char="o"/>
            </a:pPr>
            <a:endParaRPr lang="nb-NO" sz="2400" dirty="0">
              <a:solidFill>
                <a:schemeClr val="bg1"/>
              </a:solidFill>
              <a:latin typeface="Calibri"/>
              <a:cs typeface="Arial"/>
            </a:endParaRPr>
          </a:p>
          <a:p>
            <a:pPr>
              <a:spcBef>
                <a:spcPts val="600"/>
              </a:spcBef>
              <a:spcAft>
                <a:spcPts val="500"/>
              </a:spcAft>
            </a:pPr>
            <a:endParaRPr lang="nb-NO" sz="2400" dirty="0">
              <a:solidFill>
                <a:schemeClr val="bg1"/>
              </a:solidFill>
              <a:latin typeface="Calibri"/>
              <a:cs typeface="Arial"/>
            </a:endParaRPr>
          </a:p>
          <a:p>
            <a:pPr marL="342900" indent="-342900">
              <a:spcBef>
                <a:spcPts val="600"/>
              </a:spcBef>
              <a:spcAft>
                <a:spcPts val="500"/>
              </a:spcAft>
              <a:buFont typeface="Wingdings" panose="05000000000000000000" pitchFamily="2" charset="2"/>
              <a:buChar char="Ø"/>
            </a:pPr>
            <a:endParaRPr lang="nb-NO" sz="2400" dirty="0">
              <a:solidFill>
                <a:schemeClr val="bg1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227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FE4932E-9EBA-F43F-0FA8-5163A4EA5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083285"/>
            <a:ext cx="9222298" cy="519373"/>
          </a:xfrm>
        </p:spPr>
        <p:txBody>
          <a:bodyPr/>
          <a:lstStyle/>
          <a:p>
            <a:r>
              <a:rPr lang="nb-NO" dirty="0"/>
              <a:t>Portefølje sak: avvikling av </a:t>
            </a:r>
            <a:r>
              <a:rPr lang="nb-NO" dirty="0" err="1"/>
              <a:t>Altinn</a:t>
            </a:r>
            <a:r>
              <a:rPr lang="nb-NO" dirty="0"/>
              <a:t> digita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D03976C-8E6B-831D-915E-8B7F41A53A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algn="l">
              <a:buFont typeface="Wingdings" panose="05000000000000000000" pitchFamily="2" charset="2"/>
              <a:buChar char="Ø"/>
            </a:pPr>
            <a:r>
              <a:rPr lang="nb-NO" sz="1800" b="0" i="0" dirty="0">
                <a:effectLst/>
                <a:highlight>
                  <a:srgbClr val="FFFFFF"/>
                </a:highlight>
              </a:rPr>
              <a:t>Bod avvikler </a:t>
            </a:r>
            <a:r>
              <a:rPr lang="nb-NO" sz="1800" b="0" i="0" dirty="0" err="1">
                <a:effectLst/>
                <a:highlight>
                  <a:srgbClr val="FFFFFF"/>
                </a:highlight>
              </a:rPr>
              <a:t>Altinn</a:t>
            </a:r>
            <a:r>
              <a:rPr lang="nb-NO" sz="1800" b="0" i="0" dirty="0">
                <a:effectLst/>
                <a:highlight>
                  <a:srgbClr val="FFFFFF"/>
                </a:highlight>
              </a:rPr>
              <a:t> Digital og tar i bruk Samarbeidsportalen fordi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b="0" i="0" dirty="0">
                <a:effectLst/>
                <a:highlight>
                  <a:srgbClr val="FFFFFF"/>
                </a:highlight>
              </a:rPr>
              <a:t>Bod har mange kanaler og drifte og forvalt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highlight>
                  <a:srgbClr val="FFFFFF"/>
                </a:highlight>
              </a:rPr>
              <a:t>Mest utrangert informasjon som ligger på </a:t>
            </a:r>
            <a:r>
              <a:rPr lang="nb-NO" sz="1500" dirty="0" err="1">
                <a:highlight>
                  <a:srgbClr val="FFFFFF"/>
                </a:highlight>
              </a:rPr>
              <a:t>Altinn</a:t>
            </a:r>
            <a:r>
              <a:rPr lang="nb-NO" sz="1500" dirty="0">
                <a:highlight>
                  <a:srgbClr val="FFFFFF"/>
                </a:highlight>
              </a:rPr>
              <a:t> Digital, portalen er ikke oppdater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 err="1">
                <a:highlight>
                  <a:srgbClr val="FFFFFF"/>
                </a:highlight>
              </a:rPr>
              <a:t>Altinn</a:t>
            </a:r>
            <a:r>
              <a:rPr lang="nb-NO" sz="1500" dirty="0">
                <a:highlight>
                  <a:srgbClr val="FFFFFF"/>
                </a:highlight>
              </a:rPr>
              <a:t> 3 produktinformasjon ligger på Samarbeidsportale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b="0" i="0" dirty="0">
                <a:effectLst/>
                <a:highlight>
                  <a:srgbClr val="FFFFFF"/>
                </a:highlight>
              </a:rPr>
              <a:t>BR forvalter </a:t>
            </a:r>
            <a:r>
              <a:rPr lang="nb-NO" sz="1500" dirty="0">
                <a:highlight>
                  <a:srgbClr val="FFFFFF"/>
                </a:highlight>
              </a:rPr>
              <a:t>sertifikatet for </a:t>
            </a:r>
            <a:r>
              <a:rPr lang="nb-NO" sz="1500" dirty="0" err="1">
                <a:highlight>
                  <a:srgbClr val="FFFFFF"/>
                </a:highlight>
              </a:rPr>
              <a:t>Altinn</a:t>
            </a:r>
            <a:r>
              <a:rPr lang="nb-NO" sz="1500" dirty="0">
                <a:highlight>
                  <a:srgbClr val="FFFFFF"/>
                </a:highlight>
              </a:rPr>
              <a:t> digital som Digdir bruker, BR ønsker ikke å fornye sertifikatet som  går ut 18.10.2024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b="0" i="0" dirty="0">
                <a:effectLst/>
                <a:highlight>
                  <a:srgbClr val="FFFFFF"/>
                </a:highlight>
              </a:rPr>
              <a:t>Inngang med pålogging til Brukerstøtte og CRM på Samarbeidsportale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b="0" i="0" dirty="0">
                <a:effectLst/>
                <a:highlight>
                  <a:srgbClr val="FFFFFF"/>
                </a:highlight>
              </a:rPr>
              <a:t>Bedre med ett sted </a:t>
            </a:r>
            <a:r>
              <a:rPr lang="nb-NO" sz="1500" dirty="0">
                <a:highlight>
                  <a:srgbClr val="FFFFFF"/>
                </a:highlight>
              </a:rPr>
              <a:t>for TE å logge seg in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highlight>
                  <a:srgbClr val="FFFFFF"/>
                </a:highlight>
              </a:rPr>
              <a:t>Mer brukervennlig å samle alt – er mer ett Digdir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highlight>
                  <a:srgbClr val="FFFFFF"/>
                </a:highlight>
              </a:rPr>
              <a:t>Noe informasjon saneres, noe oppdateres og flyttes til Samarbeidsportalen</a:t>
            </a:r>
            <a:br>
              <a:rPr lang="nb-NO" sz="1500" b="0" i="0" dirty="0">
                <a:effectLst/>
                <a:highlight>
                  <a:srgbClr val="FFFFFF"/>
                </a:highlight>
              </a:rPr>
            </a:br>
            <a:endParaRPr lang="nb-NO" sz="1500" b="0" i="0" dirty="0">
              <a:solidFill>
                <a:srgbClr val="000000"/>
              </a:solidFill>
              <a:effectLst/>
              <a:highlight>
                <a:srgbClr val="FFFFFF"/>
              </a:highlight>
              <a:cs typeface="Arial" panose="020B0604020202020204"/>
            </a:endParaRP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 panose="020B0604020202020204"/>
            </a:endParaRP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 panose="020B0604020202020204"/>
            </a:endParaRP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80866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CBFA2FE-6945-3563-9C4C-92ED51290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 dirty="0">
                <a:cs typeface="Arial"/>
              </a:rPr>
            </a:br>
            <a:br>
              <a:rPr lang="nb-NO" dirty="0">
                <a:cs typeface="Arial"/>
              </a:rPr>
            </a:br>
            <a:r>
              <a:rPr lang="nb-NO" dirty="0">
                <a:cs typeface="Arial"/>
              </a:rPr>
              <a:t>Flytting av informasjon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D122EF7-0A48-7357-A8CA-E7070B572E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nb-NO" sz="2800" dirty="0">
                <a:solidFill>
                  <a:srgbClr val="000000"/>
                </a:solidFill>
                <a:ea typeface="+mn-lt"/>
                <a:cs typeface="+mn-lt"/>
              </a:rPr>
              <a:t>Kartlegging av informasjon som skal flyttes er utfør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800" dirty="0">
                <a:solidFill>
                  <a:srgbClr val="000000"/>
                </a:solidFill>
                <a:ea typeface="+mn-lt"/>
                <a:cs typeface="+mn-lt"/>
              </a:rPr>
              <a:t>FEL flytter informasjon til Samarbeidsportalen og legger det under tydelig merking med </a:t>
            </a:r>
            <a:r>
              <a:rPr lang="nb-NO" sz="2800" dirty="0" err="1">
                <a:solidFill>
                  <a:srgbClr val="000000"/>
                </a:solidFill>
                <a:ea typeface="+mn-lt"/>
                <a:cs typeface="+mn-lt"/>
              </a:rPr>
              <a:t>Altinn</a:t>
            </a:r>
            <a:r>
              <a:rPr lang="nb-NO" sz="2800" dirty="0">
                <a:solidFill>
                  <a:srgbClr val="000000"/>
                </a:solidFill>
                <a:ea typeface="+mn-lt"/>
                <a:cs typeface="+mn-lt"/>
              </a:rPr>
              <a:t> 2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800" dirty="0">
                <a:solidFill>
                  <a:srgbClr val="000000"/>
                </a:solidFill>
                <a:ea typeface="+mn-lt"/>
                <a:cs typeface="+mn-lt"/>
              </a:rPr>
              <a:t>Status – arbeidet er i gang satt og gjøres i juni</a:t>
            </a:r>
            <a:br>
              <a:rPr lang="nb-NO" sz="2800" dirty="0">
                <a:solidFill>
                  <a:srgbClr val="000000"/>
                </a:solidFill>
                <a:ea typeface="+mn-lt"/>
                <a:cs typeface="+mn-lt"/>
              </a:rPr>
            </a:br>
            <a:br>
              <a:rPr lang="nb-NO" sz="1200" dirty="0">
                <a:solidFill>
                  <a:srgbClr val="000000"/>
                </a:solidFill>
                <a:ea typeface="+mn-lt"/>
                <a:cs typeface="+mn-lt"/>
              </a:rPr>
            </a:br>
            <a:endParaRPr lang="nb-NO" sz="1200" dirty="0">
              <a:solidFill>
                <a:srgbClr val="000000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290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648825E-4DB8-72E6-3A60-EE7A3EA9C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cs typeface="Arial"/>
              </a:rPr>
              <a:t>Brukerstøtten og tilpasninger i systemet 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8094515-C42C-13B3-C1A5-473AFA7B97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404495" indent="-404495">
              <a:buFont typeface="Wingdings" panose="020B0604020202020204" pitchFamily="34" charset="0"/>
              <a:buChar char="v"/>
            </a:pPr>
            <a:r>
              <a:rPr lang="nb-NO" dirty="0">
                <a:cs typeface="Arial"/>
              </a:rPr>
              <a:t>Bod har behov for tilpasninger i systemet med samme funksjonalitet som skjemaene inneholder i dag</a:t>
            </a:r>
          </a:p>
          <a:p>
            <a:pPr marL="404495" indent="-404495">
              <a:buFont typeface="Wingdings" panose="020B0604020202020204" pitchFamily="34" charset="0"/>
              <a:buChar char="v"/>
            </a:pPr>
            <a:r>
              <a:rPr lang="nb-NO" dirty="0">
                <a:cs typeface="Arial"/>
              </a:rPr>
              <a:t>Systemtilpasninger av bestillingsskjema er utført i FEL, klart til test av brukerstøtten. </a:t>
            </a:r>
          </a:p>
          <a:p>
            <a:pPr marL="404495" indent="-404495">
              <a:buFont typeface="Wingdings" panose="020B0604020202020204" pitchFamily="34" charset="0"/>
              <a:buChar char="v"/>
            </a:pPr>
            <a:r>
              <a:rPr lang="nb-NO" dirty="0">
                <a:cs typeface="Arial"/>
              </a:rPr>
              <a:t>Andre tilpasninger som CAP skal gjøre, arbeid pågår, behovsanalyser og utvikling. Har mottatt estimat på noen endringer. Løsningsutredning for integrasjon med </a:t>
            </a:r>
            <a:r>
              <a:rPr lang="nb-NO" dirty="0" err="1">
                <a:cs typeface="Arial"/>
              </a:rPr>
              <a:t>WebSak</a:t>
            </a:r>
            <a:r>
              <a:rPr lang="nb-NO" dirty="0">
                <a:cs typeface="Arial"/>
              </a:rPr>
              <a:t> gjenstår</a:t>
            </a: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/>
            </a:endParaRP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/>
            </a:endParaRPr>
          </a:p>
          <a:p>
            <a:pPr marL="404495" indent="-404495">
              <a:buFont typeface="Wingdings" panose="020B0604020202020204" pitchFamily="34" charset="0"/>
              <a:buChar char="v"/>
            </a:pPr>
            <a:endParaRPr lang="nb-NO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60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B37565-EF4A-72C9-8559-1E27F3506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cs typeface="Arial"/>
              </a:rPr>
              <a:t>Flytting av statistikk, månedsrapport og </a:t>
            </a:r>
            <a:r>
              <a:rPr lang="nb-NO" dirty="0" err="1">
                <a:cs typeface="Arial"/>
              </a:rPr>
              <a:t>event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848578F-8DA6-195F-AC6B-76710A7C77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640313"/>
          </a:xfrm>
        </p:spPr>
        <p:txBody>
          <a:bodyPr vert="horz" lIns="0" tIns="0" rIns="0" bIns="0" rtlCol="0" anchor="t">
            <a:normAutofit lnSpcReduction="10000"/>
          </a:bodyPr>
          <a:lstStyle/>
          <a:p>
            <a:pPr marL="457200" indent="-457200">
              <a:buFont typeface="Wingdings" panose="020B0604020202020204" pitchFamily="34" charset="0"/>
              <a:buChar char="v"/>
            </a:pPr>
            <a:r>
              <a:rPr lang="nb-NO" sz="2800" dirty="0">
                <a:cs typeface="Arial" panose="020B0604020202020204"/>
              </a:rPr>
              <a:t>Statistikk er flyttet til Samarbeidsportalen</a:t>
            </a:r>
          </a:p>
          <a:p>
            <a:pPr marL="457200" indent="-457200">
              <a:buFont typeface="Wingdings" panose="020B0604020202020204" pitchFamily="34" charset="0"/>
              <a:buChar char="v"/>
            </a:pPr>
            <a:r>
              <a:rPr lang="nb-NO" sz="2800" dirty="0" err="1">
                <a:solidFill>
                  <a:schemeClr val="tx1"/>
                </a:solidFill>
                <a:ea typeface="+mn-lt"/>
                <a:cs typeface="+mn-lt"/>
              </a:rPr>
              <a:t>Altinn</a:t>
            </a:r>
            <a:r>
              <a:rPr lang="nb-NO" sz="2800" dirty="0">
                <a:solidFill>
                  <a:schemeClr val="tx1"/>
                </a:solidFill>
                <a:ea typeface="+mn-lt"/>
                <a:cs typeface="+mn-lt"/>
              </a:rPr>
              <a:t> månedsrapport finnes på Samarbeidsportalen</a:t>
            </a:r>
          </a:p>
          <a:p>
            <a:pPr marL="457200" indent="-457200">
              <a:buFont typeface="Wingdings" panose="020B0604020202020204" pitchFamily="34" charset="0"/>
              <a:buChar char="v"/>
            </a:pPr>
            <a:r>
              <a:rPr lang="nb-NO" sz="2800" dirty="0">
                <a:solidFill>
                  <a:schemeClr val="tx1"/>
                </a:solidFill>
                <a:ea typeface="+mn-lt"/>
                <a:cs typeface="+mn-lt"/>
              </a:rPr>
              <a:t>Informasjon om </a:t>
            </a:r>
            <a:r>
              <a:rPr lang="nb-NO" sz="2800" dirty="0" err="1">
                <a:solidFill>
                  <a:schemeClr val="tx1"/>
                </a:solidFill>
                <a:ea typeface="+mn-lt"/>
                <a:cs typeface="+mn-lt"/>
              </a:rPr>
              <a:t>webinarer</a:t>
            </a:r>
            <a:r>
              <a:rPr lang="nb-NO" sz="2800" dirty="0">
                <a:solidFill>
                  <a:schemeClr val="tx1"/>
                </a:solidFill>
                <a:ea typeface="+mn-lt"/>
                <a:cs typeface="+mn-lt"/>
              </a:rPr>
              <a:t> </a:t>
            </a:r>
            <a:r>
              <a:rPr lang="nb-NO" sz="2800" dirty="0" err="1">
                <a:solidFill>
                  <a:schemeClr val="tx1"/>
                </a:solidFill>
                <a:ea typeface="+mn-lt"/>
                <a:cs typeface="+mn-lt"/>
              </a:rPr>
              <a:t>etc</a:t>
            </a:r>
            <a:r>
              <a:rPr lang="nb-NO" sz="2800" dirty="0">
                <a:solidFill>
                  <a:schemeClr val="tx1"/>
                </a:solidFill>
                <a:ea typeface="+mn-lt"/>
                <a:cs typeface="+mn-lt"/>
              </a:rPr>
              <a:t> legges på Samarbeidsportalen</a:t>
            </a:r>
          </a:p>
          <a:p>
            <a:pPr marL="0" indent="0">
              <a:buNone/>
            </a:pPr>
            <a:r>
              <a:rPr lang="nb-NO" sz="2800" dirty="0">
                <a:solidFill>
                  <a:schemeClr val="tx1"/>
                </a:solidFill>
                <a:cs typeface="Arial"/>
              </a:rPr>
              <a:t>                                        </a:t>
            </a:r>
          </a:p>
          <a:p>
            <a:pPr marL="0" indent="0">
              <a:buNone/>
            </a:pPr>
            <a:r>
              <a:rPr lang="nb-NO" sz="2800" dirty="0">
                <a:solidFill>
                  <a:schemeClr val="tx1"/>
                </a:solidFill>
                <a:cs typeface="Arial"/>
              </a:rPr>
              <a:t>                          </a:t>
            </a:r>
            <a:endParaRPr lang="nb-NO" sz="2000" dirty="0">
              <a:solidFill>
                <a:schemeClr val="tx1"/>
              </a:solidFill>
              <a:cs typeface="Arial"/>
            </a:endParaRPr>
          </a:p>
          <a:p>
            <a:pPr marL="0" indent="0">
              <a:buNone/>
            </a:pPr>
            <a:endParaRPr lang="nb-NO" sz="2000" dirty="0">
              <a:solidFill>
                <a:schemeClr val="tx1"/>
              </a:solidFill>
              <a:cs typeface="Arial"/>
            </a:endParaRPr>
          </a:p>
          <a:p>
            <a:pPr marL="0" indent="0">
              <a:buNone/>
            </a:pPr>
            <a:r>
              <a:rPr lang="nb-NO" sz="1800" dirty="0">
                <a:solidFill>
                  <a:srgbClr val="FF0000"/>
                </a:solidFill>
                <a:cs typeface="Arial"/>
              </a:rPr>
              <a:t> </a:t>
            </a:r>
            <a:br>
              <a:rPr lang="nb-NO" sz="1800" dirty="0">
                <a:cs typeface="Arial"/>
              </a:rPr>
            </a:br>
            <a:endParaRPr lang="nb-NO" sz="1800" dirty="0">
              <a:solidFill>
                <a:srgbClr val="FF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360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706D472-A25E-D184-51E4-1D9572F96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/>
              <a:t>Innhold for sluttbrukersystem for </a:t>
            </a:r>
            <a:r>
              <a:rPr lang="nb-NO" sz="2800" dirty="0" err="1"/>
              <a:t>Altinn</a:t>
            </a:r>
            <a:r>
              <a:rPr lang="nb-NO" sz="2800" dirty="0"/>
              <a:t> digita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77D3D0D-A973-9EA2-39F2-DBD66E3BE0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PI for datasystem - salgsmateriale 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lyttes til A2 Docs</a:t>
            </a:r>
            <a:endParaRPr lang="nb-NO" sz="15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jenestespesifikk informasjon 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lyttes til A2 Doc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appestruktur med hoved – og under mapper må flyttes. Har sendt forespørsel til </a:t>
            </a:r>
            <a:r>
              <a:rPr lang="nb-NO" sz="1500" dirty="0" err="1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nowit</a:t>
            </a:r>
            <a:r>
              <a:rPr lang="nb-NO" sz="15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om de kan gjøre arbeidet og ferdigstille før 20. september. Bedt om møte med de i august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Brukere er Skatt, BR og SB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E blir informert</a:t>
            </a:r>
            <a:endParaRPr lang="nb-NO" sz="15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br>
              <a:rPr lang="nb-NO" sz="2800" dirty="0">
                <a:cs typeface="Arial"/>
              </a:rPr>
            </a:br>
            <a:endParaRPr lang="nb-NO" sz="1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572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706D472-A25E-D184-51E4-1D9572F96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/>
              <a:t>Informasjon til T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77D3D0D-A973-9EA2-39F2-DBD66E3BE0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nformasjon om avvikling av </a:t>
            </a:r>
            <a:r>
              <a:rPr lang="nb-NO" sz="1800" dirty="0" err="1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ltinn</a:t>
            </a: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digital er beskrevet i mai månedsrapport for </a:t>
            </a:r>
            <a:r>
              <a:rPr lang="nb-NO" sz="1800" dirty="0" err="1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ltinn</a:t>
            </a: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2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et legges ut informasjon i driftsvarsel </a:t>
            </a:r>
            <a:r>
              <a:rPr lang="nb-NO" sz="1800" dirty="0" err="1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ltinn</a:t>
            </a: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Digital i juli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E som i henhold til statistikken er brukere får beskjed</a:t>
            </a:r>
            <a:endParaRPr lang="nb-NO" sz="15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jenestespesifikk informasjon brukes av få T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lyttes til A2 Doc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appestruktur med hoved – og under mapper må flyttes. Har sendt forespørsel til </a:t>
            </a:r>
            <a:r>
              <a:rPr lang="nb-NO" sz="1500" dirty="0" err="1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nowit</a:t>
            </a:r>
            <a:r>
              <a:rPr lang="nb-NO" sz="15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om de kan gjøre arbeidet og ferdigstille før 20. september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5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e får mail direkte til person i etaten i juli</a:t>
            </a:r>
            <a:endParaRPr lang="nb-NO" sz="15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br>
              <a:rPr lang="nb-NO" sz="2800" dirty="0">
                <a:cs typeface="Arial"/>
              </a:rPr>
            </a:br>
            <a:endParaRPr lang="nb-NO" sz="1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179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706D472-A25E-D184-51E4-1D9572F96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/>
              <a:t>Lisenser og rutiner på CRM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77D3D0D-A973-9EA2-39F2-DBD66E3BE0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et finnes ulike type lisenser. Vi kan kjøpe variable lisenser som er i en pool på 100 samtidige brukere, kr 200 dollar pr mnd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vem trenger lisenser: brukerstøtte, marked, produkteiere </a:t>
            </a:r>
            <a:r>
              <a:rPr lang="nb-NO" sz="1800" dirty="0" err="1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tc</a:t>
            </a: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utredes </a:t>
            </a:r>
            <a:r>
              <a:rPr lang="nb-NO" sz="1800" dirty="0" err="1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fm</a:t>
            </a: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arbeidsprosess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1800" dirty="0">
                <a:solidFill>
                  <a:srgbClr val="0F476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rbeidsprose</a:t>
            </a:r>
            <a:r>
              <a:rPr lang="nb-NO" sz="1800" dirty="0">
                <a:solidFill>
                  <a:srgbClr val="0F476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s beskrives og utredes i august/sept.</a:t>
            </a:r>
            <a:endParaRPr lang="nb-NO" sz="1800" dirty="0">
              <a:solidFill>
                <a:srgbClr val="0F4761"/>
              </a:solidFill>
              <a:effectLst/>
              <a:latin typeface="Aptos Display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br>
              <a:rPr lang="nb-NO" sz="2800" dirty="0">
                <a:cs typeface="Arial"/>
              </a:rPr>
            </a:br>
            <a:endParaRPr lang="nb-NO" sz="18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718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ukertester og bruekrgrupper OED" id="{1AB8B5B5-7E25-1C4E-8571-5E245582ACDC}" vid="{041E470F-2BE8-454D-A086-50768A5CA351}"/>
    </a:ext>
  </a:extLst>
</a:theme>
</file>

<file path=ppt/theme/theme2.xml><?xml version="1.0" encoding="utf-8"?>
<a:theme xmlns:a="http://schemas.openxmlformats.org/drawingml/2006/main" name="1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3.xml><?xml version="1.0" encoding="utf-8"?>
<a:theme xmlns:a="http://schemas.openxmlformats.org/drawingml/2006/main" name="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5.xml><?xml version="1.0" encoding="utf-8"?>
<a:theme xmlns:a="http://schemas.openxmlformats.org/drawingml/2006/main" name="2_Overgang Introslides - Med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6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3927ad-aee5-450f-8b58-b6a15cafc97c">
      <UserInfo>
        <DisplayName>SharingLinks.d8e8a1bc-dedd-4978-bdb6-8dd57085659c.Flexible.9b2da285-7ae6-49ed-b662-1692515d5f33</DisplayName>
        <AccountId>15</AccountId>
        <AccountType/>
      </UserInfo>
      <UserInfo>
        <DisplayName>Hammer, Ann-Elisabeth</DisplayName>
        <AccountId>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89739A83B12EB419B6C14BD9EEB5008" ma:contentTypeVersion="6" ma:contentTypeDescription="Opprett et nytt dokument." ma:contentTypeScope="" ma:versionID="11a13305350b488038b55a9de7a9816e">
  <xsd:schema xmlns:xsd="http://www.w3.org/2001/XMLSchema" xmlns:xs="http://www.w3.org/2001/XMLSchema" xmlns:p="http://schemas.microsoft.com/office/2006/metadata/properties" xmlns:ns2="ecac8be4-122c-476d-b673-e6038df18e31" xmlns:ns3="dd3927ad-aee5-450f-8b58-b6a15cafc97c" targetNamespace="http://schemas.microsoft.com/office/2006/metadata/properties" ma:root="true" ma:fieldsID="66fa9705ac6819cf2d1825e8ce6259c1" ns2:_="" ns3:_="">
    <xsd:import namespace="ecac8be4-122c-476d-b673-e6038df18e31"/>
    <xsd:import namespace="dd3927ad-aee5-450f-8b58-b6a15cafc9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ac8be4-122c-476d-b673-e6038df18e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3927ad-aee5-450f-8b58-b6a15cafc97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C8AF99-A6E6-442A-ABF0-FE1F92931E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5FB690-5BFE-44FB-A35F-AD3D9935628B}">
  <ds:schemaRefs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dd3927ad-aee5-450f-8b58-b6a15cafc97c"/>
    <ds:schemaRef ds:uri="ecac8be4-122c-476d-b673-e6038df18e3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3402C01-74A4-417C-B707-6E1EB22C90E1}">
  <ds:schemaRefs>
    <ds:schemaRef ds:uri="dd3927ad-aee5-450f-8b58-b6a15cafc97c"/>
    <ds:schemaRef ds:uri="ecac8be4-122c-476d-b673-e6038df18e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11</TotalTime>
  <Words>732</Words>
  <Application>Microsoft Office PowerPoint</Application>
  <PresentationFormat>Widescreen</PresentationFormat>
  <Paragraphs>86</Paragraphs>
  <Slides>11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27" baseType="lpstr">
      <vt:lpstr>-apple-system</vt:lpstr>
      <vt:lpstr>Aptos</vt:lpstr>
      <vt:lpstr>Aptos Display</vt:lpstr>
      <vt:lpstr>Arial</vt:lpstr>
      <vt:lpstr>Calibri</vt:lpstr>
      <vt:lpstr>Courier New</vt:lpstr>
      <vt:lpstr>Graphik Black</vt:lpstr>
      <vt:lpstr>Helvetica Neue Light</vt:lpstr>
      <vt:lpstr>Wingdings</vt:lpstr>
      <vt:lpstr>Digdir PPTmal</vt:lpstr>
      <vt:lpstr>1_Digdir PPTmal</vt:lpstr>
      <vt:lpstr>Egendefinert utforming</vt:lpstr>
      <vt:lpstr>3_Digdir PPTmal</vt:lpstr>
      <vt:lpstr>2_Overgang Introslides - Med lyd</vt:lpstr>
      <vt:lpstr>Digdir PPTmal</vt:lpstr>
      <vt:lpstr>think-cell Slide</vt:lpstr>
      <vt:lpstr>    Samarbeidsportalen  Avvikling av Altinn Digital  Digdir 26. juni 2024 </vt:lpstr>
      <vt:lpstr>        </vt:lpstr>
      <vt:lpstr>Portefølje sak: avvikling av Altinn digital</vt:lpstr>
      <vt:lpstr>  Flytting av informasjon</vt:lpstr>
      <vt:lpstr>Brukerstøtten og tilpasninger i systemet </vt:lpstr>
      <vt:lpstr>Flytting av statistikk, månedsrapport og event</vt:lpstr>
      <vt:lpstr>Innhold for sluttbrukersystem for Altinn digital</vt:lpstr>
      <vt:lpstr>Informasjon til TE</vt:lpstr>
      <vt:lpstr>Lisenser og rutiner på CRM</vt:lpstr>
      <vt:lpstr>Kompetanseoverføring - Opplæring i september</vt:lpstr>
      <vt:lpstr>   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arbeidsportalen og Altinn digital</dc:title>
  <dc:creator>Fylken, Wenche</dc:creator>
  <cp:lastModifiedBy>Fylken, Wenche</cp:lastModifiedBy>
  <cp:revision>9</cp:revision>
  <cp:lastPrinted>2023-09-26T11:24:46Z</cp:lastPrinted>
  <dcterms:created xsi:type="dcterms:W3CDTF">2021-11-02T13:08:54Z</dcterms:created>
  <dcterms:modified xsi:type="dcterms:W3CDTF">2024-06-26T11:3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9739A83B12EB419B6C14BD9EEB5008</vt:lpwstr>
  </property>
  <property fmtid="{D5CDD505-2E9C-101B-9397-08002B2CF9AE}" pid="3" name="MediaServiceImageTags">
    <vt:lpwstr/>
  </property>
  <property fmtid="{D5CDD505-2E9C-101B-9397-08002B2CF9AE}" pid="4" name="Order">
    <vt:r8>115800</vt:r8>
  </property>
  <property fmtid="{D5CDD505-2E9C-101B-9397-08002B2CF9AE}" pid="5" name="xd_Signature">
    <vt:bool>false</vt:bool>
  </property>
  <property fmtid="{D5CDD505-2E9C-101B-9397-08002B2CF9AE}" pid="6" name="SharedWithUsers">
    <vt:lpwstr>12;#Swanberg, Bredo Erik;#370;#Lonning, Lis Madeleine;#382;#Døhl, Gørild;#252;#Hammer, Ann-Elisabeth;#308;#Drange, Dorte;#272;#Bråthen, Anniken Kjos</vt:lpwstr>
  </property>
  <property fmtid="{D5CDD505-2E9C-101B-9397-08002B2CF9AE}" pid="7" name="xd_ProgID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